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70" r:id="rId5"/>
    <p:sldId id="257" r:id="rId6"/>
    <p:sldId id="258" r:id="rId7"/>
    <p:sldId id="330" r:id="rId8"/>
    <p:sldId id="338" r:id="rId9"/>
    <p:sldId id="259" r:id="rId10"/>
    <p:sldId id="339" r:id="rId11"/>
    <p:sldId id="340" r:id="rId12"/>
    <p:sldId id="341" r:id="rId13"/>
    <p:sldId id="337" r:id="rId14"/>
    <p:sldId id="342" r:id="rId15"/>
    <p:sldId id="343" r:id="rId16"/>
    <p:sldId id="336" r:id="rId17"/>
    <p:sldId id="344" r:id="rId18"/>
    <p:sldId id="345" r:id="rId19"/>
    <p:sldId id="306" r:id="rId20"/>
    <p:sldId id="346" r:id="rId21"/>
    <p:sldId id="305" r:id="rId22"/>
  </p:sldIdLst>
  <p:sldSz cx="9144000" cy="6858000" type="screen4x3"/>
  <p:notesSz cx="6858000" cy="9144000"/>
  <p:embeddedFontLst>
    <p:embeddedFont>
      <p:font typeface="ＭＳ Ｐゴシック" panose="020B0600070205080204" pitchFamily="34" charset="-128"/>
      <p:regular r:id="rId25"/>
    </p:embeddedFont>
    <p:embeddedFont>
      <p:font typeface="Candara" panose="020E0502030303020204" pitchFamily="34" charset="0"/>
      <p:regular r:id="rId26"/>
      <p:bold r:id="rId27"/>
      <p:italic r:id="rId28"/>
      <p:boldItalic r:id="rId29"/>
    </p:embeddedFon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Arial Black" panose="020B0A04020102020204" pitchFamily="34" charset="0"/>
      <p:bold r:id="rId3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562">
          <p15:clr>
            <a:srgbClr val="A4A3A4"/>
          </p15:clr>
        </p15:guide>
        <p15:guide id="2" pos="98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00"/>
    <a:srgbClr val="FFCC6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 autoAdjust="0"/>
    <p:restoredTop sz="94610" autoAdjust="0"/>
  </p:normalViewPr>
  <p:slideViewPr>
    <p:cSldViewPr>
      <p:cViewPr>
        <p:scale>
          <a:sx n="100" d="100"/>
          <a:sy n="100" d="100"/>
        </p:scale>
        <p:origin x="294" y="2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118" d="100"/>
          <a:sy n="118" d="100"/>
        </p:scale>
        <p:origin x="-1506" y="-72"/>
      </p:cViewPr>
      <p:guideLst>
        <p:guide orient="horz" pos="2562"/>
        <p:guide pos="98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010276-4FB5-4008-94D5-6A0035A3B9B1}" type="doc">
      <dgm:prSet loTypeId="urn:diagrams.loki3.com/BracketList" loCatId="list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F99C74BA-F498-47FF-96B1-94E907C78F09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User Registration</a:t>
          </a:r>
          <a:endParaRPr lang="en-US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CDED4C-B670-4F60-95C4-CA12A563AF5D}" type="parTrans" cxnId="{5D73559B-5116-48AA-BFE5-C77EE912C8C3}">
      <dgm:prSet/>
      <dgm:spPr/>
      <dgm:t>
        <a:bodyPr/>
        <a:lstStyle/>
        <a:p>
          <a:endParaRPr lang="en-US"/>
        </a:p>
      </dgm:t>
    </dgm:pt>
    <dgm:pt modelId="{B04CA9DE-33BF-44AA-8389-72F737AF1352}" type="sibTrans" cxnId="{5D73559B-5116-48AA-BFE5-C77EE912C8C3}">
      <dgm:prSet/>
      <dgm:spPr/>
      <dgm:t>
        <a:bodyPr/>
        <a:lstStyle/>
        <a:p>
          <a:endParaRPr lang="en-US"/>
        </a:p>
      </dgm:t>
    </dgm:pt>
    <dgm:pt modelId="{B0C73FEF-4B5E-40B4-99BE-5A0DF10EC413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gistration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6CDB24D-E97F-4B8F-9BBF-A2BA8DF8BC60}" type="parTrans" cxnId="{B3806495-E3B5-4BD6-942C-868A745A98A0}">
      <dgm:prSet/>
      <dgm:spPr/>
      <dgm:t>
        <a:bodyPr/>
        <a:lstStyle/>
        <a:p>
          <a:endParaRPr lang="en-US"/>
        </a:p>
      </dgm:t>
    </dgm:pt>
    <dgm:pt modelId="{1210BA91-AB49-47CB-B18F-9C16FF9FD7B4}" type="sibTrans" cxnId="{B3806495-E3B5-4BD6-942C-868A745A98A0}">
      <dgm:prSet/>
      <dgm:spPr/>
      <dgm:t>
        <a:bodyPr/>
        <a:lstStyle/>
        <a:p>
          <a:endParaRPr lang="en-US"/>
        </a:p>
      </dgm:t>
    </dgm:pt>
    <dgm:pt modelId="{ACF44B80-A914-4FE1-8DB7-2770A3418417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User Login</a:t>
          </a:r>
          <a:endParaRPr lang="en-US" sz="2400" b="1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20BB9C-78EC-4A17-B7FE-3B7A75ED62C6}" type="parTrans" cxnId="{0F885EA7-6468-447C-883E-2B60C66A375E}">
      <dgm:prSet/>
      <dgm:spPr/>
      <dgm:t>
        <a:bodyPr/>
        <a:lstStyle/>
        <a:p>
          <a:endParaRPr lang="en-US"/>
        </a:p>
      </dgm:t>
    </dgm:pt>
    <dgm:pt modelId="{3E3DB54F-9DCB-4722-BD1D-D4ED61F67EB7}" type="sibTrans" cxnId="{0F885EA7-6468-447C-883E-2B60C66A375E}">
      <dgm:prSet/>
      <dgm:spPr/>
      <dgm:t>
        <a:bodyPr/>
        <a:lstStyle/>
        <a:p>
          <a:endParaRPr lang="en-US"/>
        </a:p>
      </dgm:t>
    </dgm:pt>
    <dgm:pt modelId="{4B8F4853-D066-4726-B26C-9DD970206CE5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Login</a:t>
          </a:r>
        </a:p>
      </dgm:t>
    </dgm:pt>
    <dgm:pt modelId="{FEB7273D-012B-4BB1-827F-68C053FBF46A}" type="parTrans" cxnId="{0736AA68-0EAC-4EB8-8E06-8539FFAF938E}">
      <dgm:prSet/>
      <dgm:spPr/>
      <dgm:t>
        <a:bodyPr/>
        <a:lstStyle/>
        <a:p>
          <a:endParaRPr lang="en-US"/>
        </a:p>
      </dgm:t>
    </dgm:pt>
    <dgm:pt modelId="{5293FA5C-2FA4-408A-A8E0-785D21FEE2B2}" type="sibTrans" cxnId="{0736AA68-0EAC-4EB8-8E06-8539FFAF938E}">
      <dgm:prSet/>
      <dgm:spPr/>
      <dgm:t>
        <a:bodyPr/>
        <a:lstStyle/>
        <a:p>
          <a:endParaRPr lang="en-US"/>
        </a:p>
      </dgm:t>
    </dgm:pt>
    <dgm:pt modelId="{3C057C90-EFC8-4B9D-8B25-69FF5B13A76E}" type="pres">
      <dgm:prSet presAssocID="{19010276-4FB5-4008-94D5-6A0035A3B9B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32AEF7E-DDC7-4ED2-AE6C-94E6261EA209}" type="pres">
      <dgm:prSet presAssocID="{F99C74BA-F498-47FF-96B1-94E907C78F09}" presName="linNode" presStyleCnt="0"/>
      <dgm:spPr/>
      <dgm:t>
        <a:bodyPr/>
        <a:lstStyle/>
        <a:p>
          <a:endParaRPr lang="en-IN"/>
        </a:p>
      </dgm:t>
    </dgm:pt>
    <dgm:pt modelId="{32CC9537-BBDC-4A80-98AC-317BE75D2A81}" type="pres">
      <dgm:prSet presAssocID="{F99C74BA-F498-47FF-96B1-94E907C78F09}" presName="parTx" presStyleLbl="revTx" presStyleIdx="0" presStyleCnt="2" custScaleX="15150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B66772-1931-47FC-BC04-4C54ECB81AC2}" type="pres">
      <dgm:prSet presAssocID="{F99C74BA-F498-47FF-96B1-94E907C78F09}" presName="bracket" presStyleLbl="parChTrans1D1" presStyleIdx="0" presStyleCnt="2" custScaleY="55803"/>
      <dgm:spPr/>
      <dgm:t>
        <a:bodyPr/>
        <a:lstStyle/>
        <a:p>
          <a:endParaRPr lang="en-IN"/>
        </a:p>
      </dgm:t>
    </dgm:pt>
    <dgm:pt modelId="{E9DCB06B-3DE1-48AC-B14E-22AA29E0904E}" type="pres">
      <dgm:prSet presAssocID="{F99C74BA-F498-47FF-96B1-94E907C78F09}" presName="spH" presStyleCnt="0"/>
      <dgm:spPr/>
      <dgm:t>
        <a:bodyPr/>
        <a:lstStyle/>
        <a:p>
          <a:endParaRPr lang="en-IN"/>
        </a:p>
      </dgm:t>
    </dgm:pt>
    <dgm:pt modelId="{D06CA33C-C8EA-4420-8555-DD7C1E9E112F}" type="pres">
      <dgm:prSet presAssocID="{F99C74BA-F498-47FF-96B1-94E907C78F09}" presName="desTx" presStyleLbl="node1" presStyleIdx="0" presStyleCnt="2" custScaleY="449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7201CA-A9B4-4D7C-81E5-0AEDD8975ACC}" type="pres">
      <dgm:prSet presAssocID="{B04CA9DE-33BF-44AA-8389-72F737AF1352}" presName="spV" presStyleCnt="0"/>
      <dgm:spPr/>
      <dgm:t>
        <a:bodyPr/>
        <a:lstStyle/>
        <a:p>
          <a:endParaRPr lang="en-IN"/>
        </a:p>
      </dgm:t>
    </dgm:pt>
    <dgm:pt modelId="{1DFB302C-74C3-45C7-84D7-B9C17E08288D}" type="pres">
      <dgm:prSet presAssocID="{ACF44B80-A914-4FE1-8DB7-2770A3418417}" presName="linNode" presStyleCnt="0"/>
      <dgm:spPr/>
      <dgm:t>
        <a:bodyPr/>
        <a:lstStyle/>
        <a:p>
          <a:endParaRPr lang="en-IN"/>
        </a:p>
      </dgm:t>
    </dgm:pt>
    <dgm:pt modelId="{79FC20CB-ACD8-4964-AF4B-C23194381537}" type="pres">
      <dgm:prSet presAssocID="{ACF44B80-A914-4FE1-8DB7-2770A3418417}" presName="parTx" presStyleLbl="revTx" presStyleIdx="1" presStyleCnt="2" custScaleX="15206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943E8-45AF-48E4-81CA-FA2AA67783DF}" type="pres">
      <dgm:prSet presAssocID="{ACF44B80-A914-4FE1-8DB7-2770A3418417}" presName="bracket" presStyleLbl="parChTrans1D1" presStyleIdx="1" presStyleCnt="2"/>
      <dgm:spPr/>
      <dgm:t>
        <a:bodyPr/>
        <a:lstStyle/>
        <a:p>
          <a:endParaRPr lang="en-IN"/>
        </a:p>
      </dgm:t>
    </dgm:pt>
    <dgm:pt modelId="{FBB44B2C-CE4D-41E7-B7D8-59F9AD1546B1}" type="pres">
      <dgm:prSet presAssocID="{ACF44B80-A914-4FE1-8DB7-2770A3418417}" presName="spH" presStyleCnt="0"/>
      <dgm:spPr/>
      <dgm:t>
        <a:bodyPr/>
        <a:lstStyle/>
        <a:p>
          <a:endParaRPr lang="en-IN"/>
        </a:p>
      </dgm:t>
    </dgm:pt>
    <dgm:pt modelId="{4D435160-9DBB-4A42-8005-00E3F38AB427}" type="pres">
      <dgm:prSet presAssocID="{ACF44B80-A914-4FE1-8DB7-2770A3418417}" presName="desTx" presStyleLbl="node1" presStyleIdx="1" presStyleCnt="2" custScaleY="529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D73559B-5116-48AA-BFE5-C77EE912C8C3}" srcId="{19010276-4FB5-4008-94D5-6A0035A3B9B1}" destId="{F99C74BA-F498-47FF-96B1-94E907C78F09}" srcOrd="0" destOrd="0" parTransId="{E0CDED4C-B670-4F60-95C4-CA12A563AF5D}" sibTransId="{B04CA9DE-33BF-44AA-8389-72F737AF1352}"/>
    <dgm:cxn modelId="{0736AA68-0EAC-4EB8-8E06-8539FFAF938E}" srcId="{ACF44B80-A914-4FE1-8DB7-2770A3418417}" destId="{4B8F4853-D066-4726-B26C-9DD970206CE5}" srcOrd="0" destOrd="0" parTransId="{FEB7273D-012B-4BB1-827F-68C053FBF46A}" sibTransId="{5293FA5C-2FA4-408A-A8E0-785D21FEE2B2}"/>
    <dgm:cxn modelId="{0F885EA7-6468-447C-883E-2B60C66A375E}" srcId="{19010276-4FB5-4008-94D5-6A0035A3B9B1}" destId="{ACF44B80-A914-4FE1-8DB7-2770A3418417}" srcOrd="1" destOrd="0" parTransId="{EE20BB9C-78EC-4A17-B7FE-3B7A75ED62C6}" sibTransId="{3E3DB54F-9DCB-4722-BD1D-D4ED61F67EB7}"/>
    <dgm:cxn modelId="{882DA100-2224-46B8-AD76-95757945CAEB}" type="presOf" srcId="{B0C73FEF-4B5E-40B4-99BE-5A0DF10EC413}" destId="{D06CA33C-C8EA-4420-8555-DD7C1E9E112F}" srcOrd="0" destOrd="0" presId="urn:diagrams.loki3.com/BracketList"/>
    <dgm:cxn modelId="{B3806495-E3B5-4BD6-942C-868A745A98A0}" srcId="{F99C74BA-F498-47FF-96B1-94E907C78F09}" destId="{B0C73FEF-4B5E-40B4-99BE-5A0DF10EC413}" srcOrd="0" destOrd="0" parTransId="{F6CDB24D-E97F-4B8F-9BBF-A2BA8DF8BC60}" sibTransId="{1210BA91-AB49-47CB-B18F-9C16FF9FD7B4}"/>
    <dgm:cxn modelId="{2FE9CEB5-DE13-4C91-B98D-8EF273011407}" type="presOf" srcId="{ACF44B80-A914-4FE1-8DB7-2770A3418417}" destId="{79FC20CB-ACD8-4964-AF4B-C23194381537}" srcOrd="0" destOrd="0" presId="urn:diagrams.loki3.com/BracketList"/>
    <dgm:cxn modelId="{5E69A657-2F57-4B95-8644-37BAA30CD1EA}" type="presOf" srcId="{19010276-4FB5-4008-94D5-6A0035A3B9B1}" destId="{3C057C90-EFC8-4B9D-8B25-69FF5B13A76E}" srcOrd="0" destOrd="0" presId="urn:diagrams.loki3.com/BracketList"/>
    <dgm:cxn modelId="{77431BD8-E9BA-4B56-A2EA-3B70DE7E5FAA}" type="presOf" srcId="{F99C74BA-F498-47FF-96B1-94E907C78F09}" destId="{32CC9537-BBDC-4A80-98AC-317BE75D2A81}" srcOrd="0" destOrd="0" presId="urn:diagrams.loki3.com/BracketList"/>
    <dgm:cxn modelId="{DE7E3FE8-A8EE-4E24-AEDA-E245C944D177}" type="presOf" srcId="{4B8F4853-D066-4726-B26C-9DD970206CE5}" destId="{4D435160-9DBB-4A42-8005-00E3F38AB427}" srcOrd="0" destOrd="0" presId="urn:diagrams.loki3.com/BracketList"/>
    <dgm:cxn modelId="{11F5D143-8B52-4BA8-81D9-3CB92B13CF48}" type="presParOf" srcId="{3C057C90-EFC8-4B9D-8B25-69FF5B13A76E}" destId="{D32AEF7E-DDC7-4ED2-AE6C-94E6261EA209}" srcOrd="0" destOrd="0" presId="urn:diagrams.loki3.com/BracketList"/>
    <dgm:cxn modelId="{1A5718E2-A2EA-4FD8-98EA-B352E2C7597C}" type="presParOf" srcId="{D32AEF7E-DDC7-4ED2-AE6C-94E6261EA209}" destId="{32CC9537-BBDC-4A80-98AC-317BE75D2A81}" srcOrd="0" destOrd="0" presId="urn:diagrams.loki3.com/BracketList"/>
    <dgm:cxn modelId="{32AFB521-965C-4340-965D-DC671303085F}" type="presParOf" srcId="{D32AEF7E-DDC7-4ED2-AE6C-94E6261EA209}" destId="{91B66772-1931-47FC-BC04-4C54ECB81AC2}" srcOrd="1" destOrd="0" presId="urn:diagrams.loki3.com/BracketList"/>
    <dgm:cxn modelId="{2D26B584-431C-458A-A62A-4BC1AAA0F2C8}" type="presParOf" srcId="{D32AEF7E-DDC7-4ED2-AE6C-94E6261EA209}" destId="{E9DCB06B-3DE1-48AC-B14E-22AA29E0904E}" srcOrd="2" destOrd="0" presId="urn:diagrams.loki3.com/BracketList"/>
    <dgm:cxn modelId="{11127195-F6D0-4B7F-8943-1B687E85AF78}" type="presParOf" srcId="{D32AEF7E-DDC7-4ED2-AE6C-94E6261EA209}" destId="{D06CA33C-C8EA-4420-8555-DD7C1E9E112F}" srcOrd="3" destOrd="0" presId="urn:diagrams.loki3.com/BracketList"/>
    <dgm:cxn modelId="{B4452558-75E3-4C22-890E-6AF80474BEF1}" type="presParOf" srcId="{3C057C90-EFC8-4B9D-8B25-69FF5B13A76E}" destId="{707201CA-A9B4-4D7C-81E5-0AEDD8975ACC}" srcOrd="1" destOrd="0" presId="urn:diagrams.loki3.com/BracketList"/>
    <dgm:cxn modelId="{EA83274D-2528-4954-BAFF-08FD8910A868}" type="presParOf" srcId="{3C057C90-EFC8-4B9D-8B25-69FF5B13A76E}" destId="{1DFB302C-74C3-45C7-84D7-B9C17E08288D}" srcOrd="2" destOrd="0" presId="urn:diagrams.loki3.com/BracketList"/>
    <dgm:cxn modelId="{55653A0B-4CA9-4114-9E32-596B587ED47E}" type="presParOf" srcId="{1DFB302C-74C3-45C7-84D7-B9C17E08288D}" destId="{79FC20CB-ACD8-4964-AF4B-C23194381537}" srcOrd="0" destOrd="0" presId="urn:diagrams.loki3.com/BracketList"/>
    <dgm:cxn modelId="{C9979882-CE4E-4496-AD14-7F3F4D7D3F5A}" type="presParOf" srcId="{1DFB302C-74C3-45C7-84D7-B9C17E08288D}" destId="{EFC943E8-45AF-48E4-81CA-FA2AA67783DF}" srcOrd="1" destOrd="0" presId="urn:diagrams.loki3.com/BracketList"/>
    <dgm:cxn modelId="{C12D6007-5CB3-456E-90D8-9FF604A6FDB9}" type="presParOf" srcId="{1DFB302C-74C3-45C7-84D7-B9C17E08288D}" destId="{FBB44B2C-CE4D-41E7-B7D8-59F9AD1546B1}" srcOrd="2" destOrd="0" presId="urn:diagrams.loki3.com/BracketList"/>
    <dgm:cxn modelId="{13429A6C-2477-411C-870C-F1E08B17CA73}" type="presParOf" srcId="{1DFB302C-74C3-45C7-84D7-B9C17E08288D}" destId="{4D435160-9DBB-4A42-8005-00E3F38AB427}" srcOrd="3" destOrd="0" presId="urn:diagrams.loki3.com/Bracket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E171A7E-91DF-4B30-919D-76CA851F4213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IN"/>
        </a:p>
      </dgm:t>
    </dgm:pt>
    <dgm:pt modelId="{E928103B-7575-4AA7-A281-79D6D7929B68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st Cases</a:t>
          </a:r>
          <a:endParaRPr lang="en-IN" b="1" dirty="0">
            <a:latin typeface="Arial" pitchFamily="34" charset="0"/>
            <a:cs typeface="Arial" pitchFamily="34" charset="0"/>
          </a:endParaRPr>
        </a:p>
      </dgm:t>
    </dgm:pt>
    <dgm:pt modelId="{4712C4D4-88F2-4123-9A28-8C13A7A5A81F}" type="parTrans" cxnId="{6ADA2798-ACEE-4475-8968-4C556890DB61}">
      <dgm:prSet/>
      <dgm:spPr/>
      <dgm:t>
        <a:bodyPr/>
        <a:lstStyle/>
        <a:p>
          <a:endParaRPr lang="en-IN"/>
        </a:p>
      </dgm:t>
    </dgm:pt>
    <dgm:pt modelId="{4CD51525-FF3D-4C0A-9EFC-8DBCB6C02014}" type="sibTrans" cxnId="{6ADA2798-ACEE-4475-8968-4C556890DB61}">
      <dgm:prSet/>
      <dgm:spPr/>
      <dgm:t>
        <a:bodyPr/>
        <a:lstStyle/>
        <a:p>
          <a:endParaRPr lang="en-IN"/>
        </a:p>
      </dgm:t>
    </dgm:pt>
    <dgm:pt modelId="{C3DE2CA7-1B4A-4C82-A157-9C1A020BFA99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Test cases = </a:t>
          </a:r>
          <a:endParaRPr lang="en-IN" sz="2000" dirty="0"/>
        </a:p>
      </dgm:t>
    </dgm:pt>
    <dgm:pt modelId="{423E2522-9CDE-425C-936D-9F64938E4DAC}" type="parTrans" cxnId="{62C0EDDA-9BAF-4D84-B6F1-0F0E57C7BD9F}">
      <dgm:prSet/>
      <dgm:spPr/>
      <dgm:t>
        <a:bodyPr/>
        <a:lstStyle/>
        <a:p>
          <a:endParaRPr lang="en-IN"/>
        </a:p>
      </dgm:t>
    </dgm:pt>
    <dgm:pt modelId="{289891B5-7EFD-471D-B27D-FF7AE93FEA11}" type="sibTrans" cxnId="{62C0EDDA-9BAF-4D84-B6F1-0F0E57C7BD9F}">
      <dgm:prSet/>
      <dgm:spPr/>
      <dgm:t>
        <a:bodyPr/>
        <a:lstStyle/>
        <a:p>
          <a:endParaRPr lang="en-IN"/>
        </a:p>
      </dgm:t>
    </dgm:pt>
    <dgm:pt modelId="{EFCEA9DF-59FC-480C-9881-9657FFABF678}">
      <dgm:prSet phldrT="[Text]"/>
      <dgm:spPr/>
      <dgm:t>
        <a:bodyPr/>
        <a:lstStyle/>
        <a:p>
          <a:r>
            <a:rPr lang="en-IN" b="1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Program</a:t>
          </a:r>
          <a:endParaRPr lang="en-IN" b="1" dirty="0">
            <a:solidFill>
              <a:schemeClr val="tx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342B3B31-D2FB-40A7-8A1E-A6ACF950BF0D}" type="parTrans" cxnId="{231D4A0E-1ADA-4DD5-B9ED-8D83461F9365}">
      <dgm:prSet/>
      <dgm:spPr/>
      <dgm:t>
        <a:bodyPr/>
        <a:lstStyle/>
        <a:p>
          <a:endParaRPr lang="en-IN"/>
        </a:p>
      </dgm:t>
    </dgm:pt>
    <dgm:pt modelId="{4C290477-5DA4-4F6E-9CF7-3BF18969227B}" type="sibTrans" cxnId="{231D4A0E-1ADA-4DD5-B9ED-8D83461F9365}">
      <dgm:prSet/>
      <dgm:spPr/>
      <dgm:t>
        <a:bodyPr/>
        <a:lstStyle/>
        <a:p>
          <a:endParaRPr lang="en-IN"/>
        </a:p>
      </dgm:t>
    </dgm:pt>
    <dgm:pt modelId="{7FD93279-0E92-4B53-8579-7C5F9F201FE8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 Programs= 2</a:t>
          </a:r>
          <a:endParaRPr lang="en-IN" sz="2000" dirty="0"/>
        </a:p>
      </dgm:t>
    </dgm:pt>
    <dgm:pt modelId="{29CE8C63-E187-4FDC-99D3-CCC2D6606345}" type="parTrans" cxnId="{24487745-52AE-466C-9465-094FDCDD2663}">
      <dgm:prSet/>
      <dgm:spPr/>
      <dgm:t>
        <a:bodyPr/>
        <a:lstStyle/>
        <a:p>
          <a:endParaRPr lang="en-IN"/>
        </a:p>
      </dgm:t>
    </dgm:pt>
    <dgm:pt modelId="{5538A195-2D1C-4037-9871-2D03E4E92AF8}" type="sibTrans" cxnId="{24487745-52AE-466C-9465-094FDCDD2663}">
      <dgm:prSet/>
      <dgm:spPr/>
      <dgm:t>
        <a:bodyPr/>
        <a:lstStyle/>
        <a:p>
          <a:endParaRPr lang="en-IN"/>
        </a:p>
      </dgm:t>
    </dgm:pt>
    <dgm:pt modelId="{8077EDF5-1622-4739-AE12-F181F12C815C}">
      <dgm:prSet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test cases passed = </a:t>
          </a:r>
        </a:p>
      </dgm:t>
    </dgm:pt>
    <dgm:pt modelId="{3B49F02D-F5AB-4B5F-BBFB-ECA1DA22B2A4}" type="parTrans" cxnId="{9C50D720-C750-4B0A-97A4-4736864912B6}">
      <dgm:prSet/>
      <dgm:spPr/>
      <dgm:t>
        <a:bodyPr/>
        <a:lstStyle/>
        <a:p>
          <a:endParaRPr lang="en-IN"/>
        </a:p>
      </dgm:t>
    </dgm:pt>
    <dgm:pt modelId="{39F92548-60F0-466C-91DF-7C8E4453425A}" type="sibTrans" cxnId="{9C50D720-C750-4B0A-97A4-4736864912B6}">
      <dgm:prSet/>
      <dgm:spPr/>
      <dgm:t>
        <a:bodyPr/>
        <a:lstStyle/>
        <a:p>
          <a:endParaRPr lang="en-IN"/>
        </a:p>
      </dgm:t>
    </dgm:pt>
    <dgm:pt modelId="{FB8A7707-BF99-4133-BBCD-E8B5D709E91A}">
      <dgm:prSet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Test cases failed </a:t>
          </a:r>
          <a:r>
            <a:rPr lang="en-US" sz="2000" dirty="0" smtClean="0">
              <a:solidFill>
                <a:schemeClr val="tx1"/>
              </a:solidFill>
            </a:rPr>
            <a:t>=</a:t>
          </a:r>
          <a:endParaRPr lang="en-US" sz="2000" dirty="0" smtClean="0">
            <a:solidFill>
              <a:schemeClr val="tx1"/>
            </a:solidFill>
          </a:endParaRPr>
        </a:p>
      </dgm:t>
    </dgm:pt>
    <dgm:pt modelId="{D3AC3B37-3F06-4E5C-B921-C78AD4215CC8}" type="parTrans" cxnId="{1575C7C7-A209-481F-8B72-D0BAA8849A1C}">
      <dgm:prSet/>
      <dgm:spPr/>
      <dgm:t>
        <a:bodyPr/>
        <a:lstStyle/>
        <a:p>
          <a:endParaRPr lang="en-IN"/>
        </a:p>
      </dgm:t>
    </dgm:pt>
    <dgm:pt modelId="{1CF647AA-7DFB-4CB6-92C1-B7FD967E905D}" type="sibTrans" cxnId="{1575C7C7-A209-481F-8B72-D0BAA8849A1C}">
      <dgm:prSet/>
      <dgm:spPr/>
      <dgm:t>
        <a:bodyPr/>
        <a:lstStyle/>
        <a:p>
          <a:endParaRPr lang="en-IN"/>
        </a:p>
      </dgm:t>
    </dgm:pt>
    <dgm:pt modelId="{C05CF9E1-0F1E-4450-A278-1D150608C8F9}">
      <dgm:prSet/>
      <dgm:spPr/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ople Worked</a:t>
          </a:r>
        </a:p>
      </dgm:t>
    </dgm:pt>
    <dgm:pt modelId="{237781D0-1839-4AA4-BAD9-412123D8F554}" type="parTrans" cxnId="{ECAF49B9-D7E1-4004-B9ED-1EE61DA02DBE}">
      <dgm:prSet/>
      <dgm:spPr/>
      <dgm:t>
        <a:bodyPr/>
        <a:lstStyle/>
        <a:p>
          <a:endParaRPr lang="en-IN"/>
        </a:p>
      </dgm:t>
    </dgm:pt>
    <dgm:pt modelId="{077FC88A-5214-4CCE-BE8D-CAD6C9ACF23A}" type="sibTrans" cxnId="{ECAF49B9-D7E1-4004-B9ED-1EE61DA02DBE}">
      <dgm:prSet/>
      <dgm:spPr/>
      <dgm:t>
        <a:bodyPr/>
        <a:lstStyle/>
        <a:p>
          <a:endParaRPr lang="en-IN"/>
        </a:p>
      </dgm:t>
    </dgm:pt>
    <dgm:pt modelId="{BD3A6867-330A-465F-891D-DEF299E0203C}">
      <dgm:prSet/>
      <dgm:spPr/>
      <dgm:t>
        <a:bodyPr/>
        <a:lstStyle/>
        <a:p>
          <a:pPr algn="l"/>
          <a:endParaRPr lang="en-US" sz="1900" dirty="0" smtClean="0">
            <a:solidFill>
              <a:schemeClr val="tx1"/>
            </a:solidFill>
          </a:endParaRPr>
        </a:p>
      </dgm:t>
    </dgm:pt>
    <dgm:pt modelId="{BA5874AF-1B05-430E-802B-6DFD7CDC76DF}" type="parTrans" cxnId="{68430AD4-1717-499F-BC59-F51E9A57B128}">
      <dgm:prSet/>
      <dgm:spPr/>
      <dgm:t>
        <a:bodyPr/>
        <a:lstStyle/>
        <a:p>
          <a:endParaRPr lang="en-IN"/>
        </a:p>
      </dgm:t>
    </dgm:pt>
    <dgm:pt modelId="{CBF1C5BB-D727-4B52-82EF-47BA2877A4A3}" type="sibTrans" cxnId="{68430AD4-1717-499F-BC59-F51E9A57B128}">
      <dgm:prSet/>
      <dgm:spPr/>
      <dgm:t>
        <a:bodyPr/>
        <a:lstStyle/>
        <a:p>
          <a:endParaRPr lang="en-IN"/>
        </a:p>
      </dgm:t>
    </dgm:pt>
    <dgm:pt modelId="{7669B19A-32B5-42CE-8C91-AAE7EA7B46CE}">
      <dgm:prSet custT="1"/>
      <dgm:spPr/>
      <dgm:t>
        <a:bodyPr/>
        <a:lstStyle/>
        <a:p>
          <a:pPr algn="just"/>
          <a:r>
            <a:rPr lang="en-US" sz="2000" dirty="0" smtClean="0">
              <a:solidFill>
                <a:schemeClr val="tx1"/>
              </a:solidFill>
            </a:rPr>
            <a:t>No. of </a:t>
          </a:r>
          <a:r>
            <a:rPr lang="en-US" sz="2000" dirty="0" smtClean="0">
              <a:solidFill>
                <a:schemeClr val="tx1"/>
              </a:solidFill>
            </a:rPr>
            <a:t>People worked in this project = 8</a:t>
          </a:r>
        </a:p>
      </dgm:t>
    </dgm:pt>
    <dgm:pt modelId="{855FD110-A4D5-4DA3-815B-7579D1BEA635}" type="parTrans" cxnId="{2C4250EE-31FD-462C-B3BE-CCD5579AB979}">
      <dgm:prSet/>
      <dgm:spPr/>
      <dgm:t>
        <a:bodyPr/>
        <a:lstStyle/>
        <a:p>
          <a:endParaRPr lang="en-IN"/>
        </a:p>
      </dgm:t>
    </dgm:pt>
    <dgm:pt modelId="{2F26271F-7B61-4569-B40A-1B5F73A134CA}" type="sibTrans" cxnId="{2C4250EE-31FD-462C-B3BE-CCD5579AB979}">
      <dgm:prSet/>
      <dgm:spPr/>
      <dgm:t>
        <a:bodyPr/>
        <a:lstStyle/>
        <a:p>
          <a:endParaRPr lang="en-IN"/>
        </a:p>
      </dgm:t>
    </dgm:pt>
    <dgm:pt modelId="{37D2CD85-6FFC-4414-BDB8-680C407818C5}" type="pres">
      <dgm:prSet presAssocID="{FE171A7E-91DF-4B30-919D-76CA851F421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16DAB1C-3192-4D8F-B8FD-7B9FAC6D5389}" type="pres">
      <dgm:prSet presAssocID="{E928103B-7575-4AA7-A281-79D6D7929B68}" presName="linNode" presStyleCnt="0"/>
      <dgm:spPr/>
    </dgm:pt>
    <dgm:pt modelId="{AF6488DF-54B6-48A0-B86F-06EB924F036D}" type="pres">
      <dgm:prSet presAssocID="{E928103B-7575-4AA7-A281-79D6D7929B68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81763AF-6CE4-42E5-A3F9-01A81FD26573}" type="pres">
      <dgm:prSet presAssocID="{E928103B-7575-4AA7-A281-79D6D7929B68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FDE35D4-E3C8-4927-8184-2E4B40101C50}" type="pres">
      <dgm:prSet presAssocID="{4CD51525-FF3D-4C0A-9EFC-8DBCB6C02014}" presName="sp" presStyleCnt="0"/>
      <dgm:spPr/>
    </dgm:pt>
    <dgm:pt modelId="{61CCB73C-2CDA-46A0-8E1A-F9D4AA140B4C}" type="pres">
      <dgm:prSet presAssocID="{EFCEA9DF-59FC-480C-9881-9657FFABF678}" presName="linNode" presStyleCnt="0"/>
      <dgm:spPr/>
    </dgm:pt>
    <dgm:pt modelId="{E77A814A-781A-4E8C-AF49-01F5F5EADCF5}" type="pres">
      <dgm:prSet presAssocID="{EFCEA9DF-59FC-480C-9881-9657FFABF678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E6F467F-A1B5-4F4C-AEA1-EB4EAA7B2FB8}" type="pres">
      <dgm:prSet presAssocID="{EFCEA9DF-59FC-480C-9881-9657FFABF678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F8F830F-C525-4328-B4C1-C68D698BF6F2}" type="pres">
      <dgm:prSet presAssocID="{4C290477-5DA4-4F6E-9CF7-3BF18969227B}" presName="sp" presStyleCnt="0"/>
      <dgm:spPr/>
    </dgm:pt>
    <dgm:pt modelId="{CF16A8AE-4881-41E5-9877-E82F13371BA9}" type="pres">
      <dgm:prSet presAssocID="{C05CF9E1-0F1E-4450-A278-1D150608C8F9}" presName="linNode" presStyleCnt="0"/>
      <dgm:spPr/>
    </dgm:pt>
    <dgm:pt modelId="{D6694317-89BC-48A3-B9A8-7A1077B01DC2}" type="pres">
      <dgm:prSet presAssocID="{C05CF9E1-0F1E-4450-A278-1D150608C8F9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031D6E7-1774-4A4C-8097-DE62DC4D3532}" type="pres">
      <dgm:prSet presAssocID="{C05CF9E1-0F1E-4450-A278-1D150608C8F9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C50D720-C750-4B0A-97A4-4736864912B6}" srcId="{E928103B-7575-4AA7-A281-79D6D7929B68}" destId="{8077EDF5-1622-4739-AE12-F181F12C815C}" srcOrd="1" destOrd="0" parTransId="{3B49F02D-F5AB-4B5F-BBFB-ECA1DA22B2A4}" sibTransId="{39F92548-60F0-466C-91DF-7C8E4453425A}"/>
    <dgm:cxn modelId="{BB9BB6F5-9610-4758-A6B4-2109B7F1B1A7}" type="presOf" srcId="{FB8A7707-BF99-4133-BBCD-E8B5D709E91A}" destId="{B81763AF-6CE4-42E5-A3F9-01A81FD26573}" srcOrd="0" destOrd="2" presId="urn:microsoft.com/office/officeart/2005/8/layout/vList5"/>
    <dgm:cxn modelId="{7308E6FA-B89F-403A-B4C5-AF5DFBFE33CE}" type="presOf" srcId="{7669B19A-32B5-42CE-8C91-AAE7EA7B46CE}" destId="{3031D6E7-1774-4A4C-8097-DE62DC4D3532}" srcOrd="0" destOrd="1" presId="urn:microsoft.com/office/officeart/2005/8/layout/vList5"/>
    <dgm:cxn modelId="{174E2851-DF4E-4982-BB6A-35CE134BDE36}" type="presOf" srcId="{C05CF9E1-0F1E-4450-A278-1D150608C8F9}" destId="{D6694317-89BC-48A3-B9A8-7A1077B01DC2}" srcOrd="0" destOrd="0" presId="urn:microsoft.com/office/officeart/2005/8/layout/vList5"/>
    <dgm:cxn modelId="{E02C3121-F822-4373-8357-1CF04C5A1986}" type="presOf" srcId="{BD3A6867-330A-465F-891D-DEF299E0203C}" destId="{3031D6E7-1774-4A4C-8097-DE62DC4D3532}" srcOrd="0" destOrd="0" presId="urn:microsoft.com/office/officeart/2005/8/layout/vList5"/>
    <dgm:cxn modelId="{B7DC8492-83DE-4FD5-B15F-2B2760E15CC4}" type="presOf" srcId="{7FD93279-0E92-4B53-8579-7C5F9F201FE8}" destId="{1E6F467F-A1B5-4F4C-AEA1-EB4EAA7B2FB8}" srcOrd="0" destOrd="0" presId="urn:microsoft.com/office/officeart/2005/8/layout/vList5"/>
    <dgm:cxn modelId="{68430AD4-1717-499F-BC59-F51E9A57B128}" srcId="{C05CF9E1-0F1E-4450-A278-1D150608C8F9}" destId="{BD3A6867-330A-465F-891D-DEF299E0203C}" srcOrd="0" destOrd="0" parTransId="{BA5874AF-1B05-430E-802B-6DFD7CDC76DF}" sibTransId="{CBF1C5BB-D727-4B52-82EF-47BA2877A4A3}"/>
    <dgm:cxn modelId="{1575C7C7-A209-481F-8B72-D0BAA8849A1C}" srcId="{E928103B-7575-4AA7-A281-79D6D7929B68}" destId="{FB8A7707-BF99-4133-BBCD-E8B5D709E91A}" srcOrd="2" destOrd="0" parTransId="{D3AC3B37-3F06-4E5C-B921-C78AD4215CC8}" sibTransId="{1CF647AA-7DFB-4CB6-92C1-B7FD967E905D}"/>
    <dgm:cxn modelId="{ECAF49B9-D7E1-4004-B9ED-1EE61DA02DBE}" srcId="{FE171A7E-91DF-4B30-919D-76CA851F4213}" destId="{C05CF9E1-0F1E-4450-A278-1D150608C8F9}" srcOrd="2" destOrd="0" parTransId="{237781D0-1839-4AA4-BAD9-412123D8F554}" sibTransId="{077FC88A-5214-4CCE-BE8D-CAD6C9ACF23A}"/>
    <dgm:cxn modelId="{24487745-52AE-466C-9465-094FDCDD2663}" srcId="{EFCEA9DF-59FC-480C-9881-9657FFABF678}" destId="{7FD93279-0E92-4B53-8579-7C5F9F201FE8}" srcOrd="0" destOrd="0" parTransId="{29CE8C63-E187-4FDC-99D3-CCC2D6606345}" sibTransId="{5538A195-2D1C-4037-9871-2D03E4E92AF8}"/>
    <dgm:cxn modelId="{6ADA2798-ACEE-4475-8968-4C556890DB61}" srcId="{FE171A7E-91DF-4B30-919D-76CA851F4213}" destId="{E928103B-7575-4AA7-A281-79D6D7929B68}" srcOrd="0" destOrd="0" parTransId="{4712C4D4-88F2-4123-9A28-8C13A7A5A81F}" sibTransId="{4CD51525-FF3D-4C0A-9EFC-8DBCB6C02014}"/>
    <dgm:cxn modelId="{5650E253-BD59-4642-AD42-A14EB28E6736}" type="presOf" srcId="{EFCEA9DF-59FC-480C-9881-9657FFABF678}" destId="{E77A814A-781A-4E8C-AF49-01F5F5EADCF5}" srcOrd="0" destOrd="0" presId="urn:microsoft.com/office/officeart/2005/8/layout/vList5"/>
    <dgm:cxn modelId="{4C33785D-66B3-45EE-A563-C7977592F19D}" type="presOf" srcId="{C3DE2CA7-1B4A-4C82-A157-9C1A020BFA99}" destId="{B81763AF-6CE4-42E5-A3F9-01A81FD26573}" srcOrd="0" destOrd="0" presId="urn:microsoft.com/office/officeart/2005/8/layout/vList5"/>
    <dgm:cxn modelId="{E9474248-39A7-4C12-B817-5C106E4D0680}" type="presOf" srcId="{E928103B-7575-4AA7-A281-79D6D7929B68}" destId="{AF6488DF-54B6-48A0-B86F-06EB924F036D}" srcOrd="0" destOrd="0" presId="urn:microsoft.com/office/officeart/2005/8/layout/vList5"/>
    <dgm:cxn modelId="{9510BA1D-86FE-483A-8456-0874C0C7C437}" type="presOf" srcId="{FE171A7E-91DF-4B30-919D-76CA851F4213}" destId="{37D2CD85-6FFC-4414-BDB8-680C407818C5}" srcOrd="0" destOrd="0" presId="urn:microsoft.com/office/officeart/2005/8/layout/vList5"/>
    <dgm:cxn modelId="{62C0EDDA-9BAF-4D84-B6F1-0F0E57C7BD9F}" srcId="{E928103B-7575-4AA7-A281-79D6D7929B68}" destId="{C3DE2CA7-1B4A-4C82-A157-9C1A020BFA99}" srcOrd="0" destOrd="0" parTransId="{423E2522-9CDE-425C-936D-9F64938E4DAC}" sibTransId="{289891B5-7EFD-471D-B27D-FF7AE93FEA11}"/>
    <dgm:cxn modelId="{2C4250EE-31FD-462C-B3BE-CCD5579AB979}" srcId="{C05CF9E1-0F1E-4450-A278-1D150608C8F9}" destId="{7669B19A-32B5-42CE-8C91-AAE7EA7B46CE}" srcOrd="1" destOrd="0" parTransId="{855FD110-A4D5-4DA3-815B-7579D1BEA635}" sibTransId="{2F26271F-7B61-4569-B40A-1B5F73A134CA}"/>
    <dgm:cxn modelId="{231D4A0E-1ADA-4DD5-B9ED-8D83461F9365}" srcId="{FE171A7E-91DF-4B30-919D-76CA851F4213}" destId="{EFCEA9DF-59FC-480C-9881-9657FFABF678}" srcOrd="1" destOrd="0" parTransId="{342B3B31-D2FB-40A7-8A1E-A6ACF950BF0D}" sibTransId="{4C290477-5DA4-4F6E-9CF7-3BF18969227B}"/>
    <dgm:cxn modelId="{77383865-78A1-481D-994D-2895EE124853}" type="presOf" srcId="{8077EDF5-1622-4739-AE12-F181F12C815C}" destId="{B81763AF-6CE4-42E5-A3F9-01A81FD26573}" srcOrd="0" destOrd="1" presId="urn:microsoft.com/office/officeart/2005/8/layout/vList5"/>
    <dgm:cxn modelId="{BA3436DA-B478-4755-A041-4B288279A831}" type="presParOf" srcId="{37D2CD85-6FFC-4414-BDB8-680C407818C5}" destId="{516DAB1C-3192-4D8F-B8FD-7B9FAC6D5389}" srcOrd="0" destOrd="0" presId="urn:microsoft.com/office/officeart/2005/8/layout/vList5"/>
    <dgm:cxn modelId="{D4DF990C-04B4-4D2E-B787-A57193E72D5D}" type="presParOf" srcId="{516DAB1C-3192-4D8F-B8FD-7B9FAC6D5389}" destId="{AF6488DF-54B6-48A0-B86F-06EB924F036D}" srcOrd="0" destOrd="0" presId="urn:microsoft.com/office/officeart/2005/8/layout/vList5"/>
    <dgm:cxn modelId="{AF58DBD6-6DC8-4539-9C31-63BD580E7082}" type="presParOf" srcId="{516DAB1C-3192-4D8F-B8FD-7B9FAC6D5389}" destId="{B81763AF-6CE4-42E5-A3F9-01A81FD26573}" srcOrd="1" destOrd="0" presId="urn:microsoft.com/office/officeart/2005/8/layout/vList5"/>
    <dgm:cxn modelId="{92463F0B-65F4-4ACA-9BC0-0075693AABFF}" type="presParOf" srcId="{37D2CD85-6FFC-4414-BDB8-680C407818C5}" destId="{3FDE35D4-E3C8-4927-8184-2E4B40101C50}" srcOrd="1" destOrd="0" presId="urn:microsoft.com/office/officeart/2005/8/layout/vList5"/>
    <dgm:cxn modelId="{C0CCDFBC-DCCB-4AA3-8661-D59090936F99}" type="presParOf" srcId="{37D2CD85-6FFC-4414-BDB8-680C407818C5}" destId="{61CCB73C-2CDA-46A0-8E1A-F9D4AA140B4C}" srcOrd="2" destOrd="0" presId="urn:microsoft.com/office/officeart/2005/8/layout/vList5"/>
    <dgm:cxn modelId="{515269B0-A334-4CB6-82D1-3D1E8064EFF9}" type="presParOf" srcId="{61CCB73C-2CDA-46A0-8E1A-F9D4AA140B4C}" destId="{E77A814A-781A-4E8C-AF49-01F5F5EADCF5}" srcOrd="0" destOrd="0" presId="urn:microsoft.com/office/officeart/2005/8/layout/vList5"/>
    <dgm:cxn modelId="{A6489FF4-BA29-4DE6-8BB2-EC7C57AB839F}" type="presParOf" srcId="{61CCB73C-2CDA-46A0-8E1A-F9D4AA140B4C}" destId="{1E6F467F-A1B5-4F4C-AEA1-EB4EAA7B2FB8}" srcOrd="1" destOrd="0" presId="urn:microsoft.com/office/officeart/2005/8/layout/vList5"/>
    <dgm:cxn modelId="{3D672093-203F-44D5-88DD-D9D957228DDE}" type="presParOf" srcId="{37D2CD85-6FFC-4414-BDB8-680C407818C5}" destId="{CF8F830F-C525-4328-B4C1-C68D698BF6F2}" srcOrd="3" destOrd="0" presId="urn:microsoft.com/office/officeart/2005/8/layout/vList5"/>
    <dgm:cxn modelId="{6BF32E21-39E0-4328-9C34-5EFB3CADDA1B}" type="presParOf" srcId="{37D2CD85-6FFC-4414-BDB8-680C407818C5}" destId="{CF16A8AE-4881-41E5-9877-E82F13371BA9}" srcOrd="4" destOrd="0" presId="urn:microsoft.com/office/officeart/2005/8/layout/vList5"/>
    <dgm:cxn modelId="{C39DD987-9B92-49BA-861B-5BB0C2E9BA68}" type="presParOf" srcId="{CF16A8AE-4881-41E5-9877-E82F13371BA9}" destId="{D6694317-89BC-48A3-B9A8-7A1077B01DC2}" srcOrd="0" destOrd="0" presId="urn:microsoft.com/office/officeart/2005/8/layout/vList5"/>
    <dgm:cxn modelId="{C77F11A3-D4F6-451D-84D3-7619ED908F3A}" type="presParOf" srcId="{CF16A8AE-4881-41E5-9877-E82F13371BA9}" destId="{3031D6E7-1774-4A4C-8097-DE62DC4D353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CC9537-BBDC-4A80-98AC-317BE75D2A81}">
      <dsp:nvSpPr>
        <dsp:cNvPr id="0" name=""/>
        <dsp:cNvSpPr/>
      </dsp:nvSpPr>
      <dsp:spPr>
        <a:xfrm>
          <a:off x="294" y="816026"/>
          <a:ext cx="2471956" cy="1327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ser Registration</a:t>
          </a:r>
          <a:endParaRPr lang="en-US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4" y="816026"/>
        <a:ext cx="2471956" cy="1327218"/>
      </dsp:txXfrm>
    </dsp:sp>
    <dsp:sp modelId="{91B66772-1931-47FC-BC04-4C54ECB81AC2}">
      <dsp:nvSpPr>
        <dsp:cNvPr id="0" name=""/>
        <dsp:cNvSpPr/>
      </dsp:nvSpPr>
      <dsp:spPr>
        <a:xfrm>
          <a:off x="2472250" y="1109322"/>
          <a:ext cx="326328" cy="740627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6CA33C-C8EA-4420-8555-DD7C1E9E112F}">
      <dsp:nvSpPr>
        <dsp:cNvPr id="0" name=""/>
        <dsp:cNvSpPr/>
      </dsp:nvSpPr>
      <dsp:spPr>
        <a:xfrm>
          <a:off x="2929110" y="1181628"/>
          <a:ext cx="4438070" cy="59601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gistration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29110" y="1181628"/>
        <a:ext cx="4438070" cy="596014"/>
      </dsp:txXfrm>
    </dsp:sp>
    <dsp:sp modelId="{79FC20CB-ACD8-4964-AF4B-C23194381537}">
      <dsp:nvSpPr>
        <dsp:cNvPr id="0" name=""/>
        <dsp:cNvSpPr/>
      </dsp:nvSpPr>
      <dsp:spPr>
        <a:xfrm>
          <a:off x="294" y="2377245"/>
          <a:ext cx="2478357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ser Login</a:t>
          </a:r>
          <a:endParaRPr lang="en-US" sz="2400" b="1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4" y="2377245"/>
        <a:ext cx="2478357" cy="1287000"/>
      </dsp:txXfrm>
    </dsp:sp>
    <dsp:sp modelId="{EFC943E8-45AF-48E4-81CA-FA2AA67783DF}">
      <dsp:nvSpPr>
        <dsp:cNvPr id="0" name=""/>
        <dsp:cNvSpPr/>
      </dsp:nvSpPr>
      <dsp:spPr>
        <a:xfrm>
          <a:off x="2478652" y="2377245"/>
          <a:ext cx="325968" cy="12870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35160-9DBB-4A42-8005-00E3F38AB427}">
      <dsp:nvSpPr>
        <dsp:cNvPr id="0" name=""/>
        <dsp:cNvSpPr/>
      </dsp:nvSpPr>
      <dsp:spPr>
        <a:xfrm>
          <a:off x="2935008" y="2680076"/>
          <a:ext cx="4433176" cy="6813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Login</a:t>
          </a:r>
        </a:p>
      </dsp:txBody>
      <dsp:txXfrm>
        <a:off x="2935008" y="2680076"/>
        <a:ext cx="4433176" cy="6813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1763AF-6CE4-42E5-A3F9-01A81FD26573}">
      <dsp:nvSpPr>
        <dsp:cNvPr id="0" name=""/>
        <dsp:cNvSpPr/>
      </dsp:nvSpPr>
      <dsp:spPr>
        <a:xfrm rot="5400000">
          <a:off x="4150313" y="-1513136"/>
          <a:ext cx="1123474" cy="4434871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</a:rPr>
            <a:t>Total No. of Test cases = </a:t>
          </a:r>
          <a:endParaRPr lang="en-IN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</a:rPr>
            <a:t>Total No. of test cases passed =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</a:rPr>
            <a:t>Total No. of Test cases failed </a:t>
          </a:r>
          <a:r>
            <a:rPr lang="en-US" sz="2000" kern="1200" dirty="0" smtClean="0">
              <a:solidFill>
                <a:schemeClr val="tx1"/>
              </a:solidFill>
            </a:rPr>
            <a:t>=</a:t>
          </a:r>
          <a:endParaRPr lang="en-US" sz="2000" kern="1200" dirty="0" smtClean="0">
            <a:solidFill>
              <a:schemeClr val="tx1"/>
            </a:solidFill>
          </a:endParaRPr>
        </a:p>
      </dsp:txBody>
      <dsp:txXfrm rot="-5400000">
        <a:off x="2494615" y="197405"/>
        <a:ext cx="4380028" cy="1013788"/>
      </dsp:txXfrm>
    </dsp:sp>
    <dsp:sp modelId="{AF6488DF-54B6-48A0-B86F-06EB924F036D}">
      <dsp:nvSpPr>
        <dsp:cNvPr id="0" name=""/>
        <dsp:cNvSpPr/>
      </dsp:nvSpPr>
      <dsp:spPr>
        <a:xfrm>
          <a:off x="0" y="2127"/>
          <a:ext cx="2494614" cy="140434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st Cases</a:t>
          </a:r>
          <a:endParaRPr lang="en-IN" sz="3700" b="1" kern="1200" dirty="0">
            <a:latin typeface="Arial" pitchFamily="34" charset="0"/>
            <a:cs typeface="Arial" pitchFamily="34" charset="0"/>
          </a:endParaRPr>
        </a:p>
      </dsp:txBody>
      <dsp:txXfrm>
        <a:off x="68554" y="70681"/>
        <a:ext cx="2357506" cy="1267234"/>
      </dsp:txXfrm>
    </dsp:sp>
    <dsp:sp modelId="{1E6F467F-A1B5-4F4C-AEA1-EB4EAA7B2FB8}">
      <dsp:nvSpPr>
        <dsp:cNvPr id="0" name=""/>
        <dsp:cNvSpPr/>
      </dsp:nvSpPr>
      <dsp:spPr>
        <a:xfrm rot="5400000">
          <a:off x="4150313" y="-38576"/>
          <a:ext cx="1123474" cy="4434871"/>
        </a:xfrm>
        <a:prstGeom prst="round2SameRect">
          <a:avLst/>
        </a:prstGeom>
        <a:solidFill>
          <a:schemeClr val="accent3">
            <a:tint val="40000"/>
            <a:alpha val="90000"/>
            <a:hueOff val="5358427"/>
            <a:satOff val="-6896"/>
            <a:lumOff val="-537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5358427"/>
              <a:satOff val="-6896"/>
              <a:lumOff val="-5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</a:rPr>
            <a:t>Total No. of  Programs= 2</a:t>
          </a:r>
          <a:endParaRPr lang="en-IN" sz="2000" kern="1200" dirty="0"/>
        </a:p>
      </dsp:txBody>
      <dsp:txXfrm rot="-5400000">
        <a:off x="2494615" y="1671965"/>
        <a:ext cx="4380028" cy="1013788"/>
      </dsp:txXfrm>
    </dsp:sp>
    <dsp:sp modelId="{E77A814A-781A-4E8C-AF49-01F5F5EADCF5}">
      <dsp:nvSpPr>
        <dsp:cNvPr id="0" name=""/>
        <dsp:cNvSpPr/>
      </dsp:nvSpPr>
      <dsp:spPr>
        <a:xfrm>
          <a:off x="0" y="1476687"/>
          <a:ext cx="2494614" cy="1404342"/>
        </a:xfrm>
        <a:prstGeom prst="roundRect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700" b="1" kern="120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Program</a:t>
          </a:r>
          <a:endParaRPr lang="en-IN" sz="3700" b="1" kern="1200" dirty="0">
            <a:solidFill>
              <a:schemeClr val="tx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68554" y="1545241"/>
        <a:ext cx="2357506" cy="1267234"/>
      </dsp:txXfrm>
    </dsp:sp>
    <dsp:sp modelId="{3031D6E7-1774-4A4C-8097-DE62DC4D3532}">
      <dsp:nvSpPr>
        <dsp:cNvPr id="0" name=""/>
        <dsp:cNvSpPr/>
      </dsp:nvSpPr>
      <dsp:spPr>
        <a:xfrm rot="5400000">
          <a:off x="4150313" y="1435983"/>
          <a:ext cx="1123474" cy="4434871"/>
        </a:xfrm>
        <a:prstGeom prst="round2SameRect">
          <a:avLst/>
        </a:prstGeom>
        <a:solidFill>
          <a:schemeClr val="accent3">
            <a:tint val="40000"/>
            <a:alpha val="90000"/>
            <a:hueOff val="10716854"/>
            <a:satOff val="-13793"/>
            <a:lumOff val="-1075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0716854"/>
              <a:satOff val="-13793"/>
              <a:lumOff val="-107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900" kern="1200" dirty="0" smtClean="0">
            <a:solidFill>
              <a:schemeClr val="tx1"/>
            </a:solidFill>
          </a:endParaRPr>
        </a:p>
        <a:p>
          <a:pPr marL="228600" lvl="1" indent="-228600" algn="just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</a:rPr>
            <a:t>No. of </a:t>
          </a:r>
          <a:r>
            <a:rPr lang="en-US" sz="2000" kern="1200" dirty="0" smtClean="0">
              <a:solidFill>
                <a:schemeClr val="tx1"/>
              </a:solidFill>
            </a:rPr>
            <a:t>People worked in this project = 8</a:t>
          </a:r>
        </a:p>
      </dsp:txBody>
      <dsp:txXfrm rot="-5400000">
        <a:off x="2494615" y="3146525"/>
        <a:ext cx="4380028" cy="1013788"/>
      </dsp:txXfrm>
    </dsp:sp>
    <dsp:sp modelId="{D6694317-89BC-48A3-B9A8-7A1077B01DC2}">
      <dsp:nvSpPr>
        <dsp:cNvPr id="0" name=""/>
        <dsp:cNvSpPr/>
      </dsp:nvSpPr>
      <dsp:spPr>
        <a:xfrm>
          <a:off x="0" y="2951247"/>
          <a:ext cx="2494614" cy="1404342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ople Worked</a:t>
          </a:r>
        </a:p>
      </dsp:txBody>
      <dsp:txXfrm>
        <a:off x="68554" y="3019801"/>
        <a:ext cx="2357506" cy="12672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3/8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524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Testing Concepts for V&amp;V Automation Testing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Candara" pitchFamily="34" charset="0"/>
                <a:cs typeface="Arial" pitchFamily="34" charset="0"/>
              </a:rPr>
              <a:t>Page 0-</a:t>
            </a:r>
            <a:fld id="{BD9FB300-F9DC-4669-88F4-967ABA23CC04}" type="slidenum">
              <a:rPr lang="en-US" sz="1200" smtClean="0">
                <a:latin typeface="Candara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060551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8254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6054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2805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D700D64-913D-4C90-AAE2-9D47DEA83510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0B93AD-6F24-47CB-B030-31AC844AF8F9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246D8EC-62C4-4BA0-99CC-CD9113D4CDC2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427E61D-9D32-465B-9976-46AE1130D0CD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B639E03-E026-4EC4-BD91-61F6679F87BC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550C818-65B5-41AA-A4D2-3D61830A98EA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EA23B9-092E-491E-A6D7-CE7DF29A1CC3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DA76E6B-E3F4-474D-A0D9-B388510A8AA0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999C504-FA45-4278-A6DA-934F4572D97C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D9F28C8-0552-4B4B-836E-2E7350AAF985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A21B53-B0DD-406F-A812-001769E56264}" type="datetime1">
              <a:rPr lang="en-US" smtClean="0"/>
              <a:pPr/>
              <a:t>3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March 8, 2018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s://demo.opencart.co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-99392"/>
            <a:ext cx="9144000" cy="557150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72112"/>
            <a:ext cx="9144000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000768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571604" y="214290"/>
            <a:ext cx="7168996" cy="48320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3200" b="1" dirty="0" smtClean="0">
                <a:latin typeface="Arial Black" pitchFamily="34" charset="0"/>
              </a:rPr>
              <a:t>PLP PRESENTATION </a:t>
            </a:r>
            <a:endParaRPr lang="en-US" sz="3200" b="1" dirty="0" smtClean="0">
              <a:latin typeface="Arial Black" pitchFamily="34" charset="0"/>
            </a:endParaRPr>
          </a:p>
          <a:p>
            <a:pPr algn="ctr" eaLnBrk="1" hangingPunct="1"/>
            <a:r>
              <a:rPr lang="en-US" sz="3200" b="1" dirty="0" smtClean="0">
                <a:latin typeface="Arial Black" pitchFamily="34" charset="0"/>
              </a:rPr>
              <a:t>ON </a:t>
            </a:r>
            <a:endParaRPr lang="en-US" sz="3200" b="1" dirty="0" smtClean="0">
              <a:latin typeface="Arial Black" pitchFamily="34" charset="0"/>
            </a:endParaRPr>
          </a:p>
          <a:p>
            <a:pPr algn="ctr" eaLnBrk="1" hangingPunct="1"/>
            <a:r>
              <a:rPr lang="en-US" sz="3200" b="1" dirty="0" smtClean="0">
                <a:latin typeface="Arial Black" pitchFamily="34" charset="0"/>
              </a:rPr>
              <a:t>OPEN </a:t>
            </a:r>
            <a:r>
              <a:rPr lang="en-US" sz="3200" b="1" dirty="0" smtClean="0">
                <a:latin typeface="Arial Black" pitchFamily="34" charset="0"/>
              </a:rPr>
              <a:t>CART APPLICATION</a:t>
            </a:r>
            <a:endParaRPr lang="en-US" sz="32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eaLnBrk="1" hangingPunct="1"/>
            <a:r>
              <a:rPr lang="en-US" sz="2400" b="1" dirty="0" smtClean="0">
                <a:latin typeface="Arial Black" pitchFamily="34" charset="0"/>
              </a:rPr>
              <a:t>BY</a:t>
            </a:r>
            <a:endParaRPr lang="en-US" sz="2400" b="1" dirty="0">
              <a:latin typeface="Arial Black" pitchFamily="34" charset="0"/>
            </a:endParaRPr>
          </a:p>
          <a:p>
            <a:pPr eaLnBrk="1" hangingPunct="1"/>
            <a:r>
              <a:rPr lang="en-US" sz="2400" b="1" dirty="0">
                <a:latin typeface="Arial Black" pitchFamily="34" charset="0"/>
              </a:rPr>
              <a:t>GROUP </a:t>
            </a:r>
            <a:r>
              <a:rPr lang="en-US" sz="2400" b="1" dirty="0" smtClean="0">
                <a:latin typeface="Arial Black" pitchFamily="34" charset="0"/>
              </a:rPr>
              <a:t>1			 Dated</a:t>
            </a:r>
            <a:r>
              <a:rPr lang="en-US" sz="2400" b="1" dirty="0">
                <a:latin typeface="Arial Black" pitchFamily="34" charset="0"/>
              </a:rPr>
              <a:t>: </a:t>
            </a:r>
            <a:r>
              <a:rPr lang="en-US" sz="2400" b="1" dirty="0" smtClean="0">
                <a:latin typeface="Arial Black" pitchFamily="34" charset="0"/>
              </a:rPr>
              <a:t>09/03/2018</a:t>
            </a:r>
            <a:endParaRPr lang="en-US" sz="2400" b="1" dirty="0">
              <a:latin typeface="Arial Black" pitchFamily="34" charset="0"/>
            </a:endParaRPr>
          </a:p>
          <a:p>
            <a:pPr eaLnBrk="1" hangingPunct="1"/>
            <a:r>
              <a:rPr lang="en-US" sz="2400" b="1" dirty="0" smtClean="0">
                <a:latin typeface="Arial Black" pitchFamily="34" charset="0"/>
              </a:rPr>
              <a:t>			</a:t>
            </a:r>
            <a:endParaRPr lang="en-US" sz="2400" b="1" dirty="0">
              <a:latin typeface="Arial Black" pitchFamily="34" charset="0"/>
            </a:endParaRP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43702" y="6072206"/>
            <a:ext cx="212114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91880" y="6094259"/>
            <a:ext cx="28956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512" y="188889"/>
            <a:ext cx="1784573" cy="112647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8545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0"/>
            <a:ext cx="8229600" cy="792162"/>
          </a:xfrm>
        </p:spPr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LOGIN PAGE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43273" y="1600200"/>
            <a:ext cx="5657453" cy="45259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44388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ECLIPSE CODE FOR LOGI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9552" y="1124744"/>
            <a:ext cx="7632848" cy="511256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9142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HTML REPORT FOR LOGI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11560" y="1196752"/>
            <a:ext cx="7550094" cy="492941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14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REGISTRATION PAGE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75656" y="1268760"/>
            <a:ext cx="5657453" cy="45259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21619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ECLIPSE CODE FOR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EGISTRATIO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1268760"/>
            <a:ext cx="7848872" cy="48574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7140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HTML REPORT FOR REGISTRATIO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7544" y="1600200"/>
            <a:ext cx="7685375" cy="45259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6622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TEST SUMMAR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sz="2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We have tested the functionalities;-</a:t>
            </a:r>
          </a:p>
          <a:p>
            <a:pPr marL="0" lvl="0" indent="0">
              <a:spcBef>
                <a:spcPts val="0"/>
              </a:spcBef>
              <a:buClrTx/>
              <a:buNone/>
            </a:pPr>
            <a:endParaRPr lang="en-US" sz="2400" kern="0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 Login</a:t>
            </a:r>
            <a:endParaRPr lang="en-US" sz="2400" kern="0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</a:p>
          <a:p>
            <a:pPr marL="0" lvl="0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 Registration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istration</a:t>
            </a:r>
            <a:endParaRPr lang="en-US" sz="2000" b="1" kern="0" dirty="0" smtClean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82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TEST SUMMARY Cont..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026950831"/>
              </p:ext>
            </p:extLst>
          </p:nvPr>
        </p:nvGraphicFramePr>
        <p:xfrm>
          <a:off x="1071538" y="1357298"/>
          <a:ext cx="6929486" cy="4357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556934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44" y="3000372"/>
            <a:ext cx="8229600" cy="792162"/>
          </a:xfrm>
        </p:spPr>
        <p:txBody>
          <a:bodyPr>
            <a:noAutofit/>
          </a:bodyPr>
          <a:lstStyle/>
          <a:p>
            <a:pPr algn="ctr"/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!</a:t>
            </a:r>
            <a:b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 &amp; A</a:t>
            </a:r>
            <a:endParaRPr lang="en-US" sz="8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10" name="Picture 9" descr="quiz-generic-300x284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1802" y="2357430"/>
            <a:ext cx="2258839" cy="213836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0110912"/>
      </p:ext>
    </p:extLst>
  </p:cSld>
  <p:clrMapOvr>
    <a:masterClrMapping/>
  </p:clrMapOvr>
  <p:transition>
    <p:checke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>
            <a:normAutofit/>
          </a:bodyPr>
          <a:lstStyle/>
          <a:p>
            <a:pPr eaLnBrk="0" hangingPunct="0">
              <a:lnSpc>
                <a:spcPct val="80000"/>
              </a:lnSpc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AM MEMBER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1645897"/>
            <a:ext cx="6296239" cy="34163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endParaRPr lang="en-IN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urv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rawal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Team Lead)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bhijit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anda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kshmi Bhavani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jal </a:t>
            </a: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jethia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barasi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kur Kumar Gupta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auddin Abbas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hanalakshmi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6725" y="1339009"/>
            <a:ext cx="8229600" cy="4525963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view of Projec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Driven Framework</a:t>
            </a:r>
            <a:endParaRPr lang="en-US" sz="2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ge Factory</a:t>
            </a:r>
            <a:endParaRPr lang="en-US" sz="2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eenshot </a:t>
            </a: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Logi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eenshot </a:t>
            </a: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Registration </a:t>
            </a:r>
            <a:endParaRPr lang="en-US" sz="2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</a:t>
            </a: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mmary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 </a:t>
            </a: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 A</a:t>
            </a:r>
          </a:p>
          <a:p>
            <a:pPr marL="0" indent="0">
              <a:buNone/>
            </a:pPr>
            <a:endParaRPr lang="en-US" sz="22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22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22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0" hangingPunct="0">
              <a:lnSpc>
                <a:spcPct val="80000"/>
              </a:lnSpc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51970" y="1559094"/>
            <a:ext cx="784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u="sng" dirty="0" smtClean="0">
                <a:hlinkClick r:id="rId2"/>
              </a:rPr>
              <a:t>https://demo.opencart.com/</a:t>
            </a:r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751970" y="1011476"/>
            <a:ext cx="7848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EBSITE LIN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" y="2153562"/>
            <a:ext cx="8572500" cy="397765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704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functionalities we tested:-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 Registra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 Login</a:t>
            </a:r>
            <a:endParaRPr lang="en-US" sz="2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48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28596" y="1571612"/>
            <a:ext cx="8229600" cy="4525963"/>
          </a:xfrm>
        </p:spPr>
        <p:txBody>
          <a:bodyPr lIns="90488" tIns="44450" rIns="90488" bIns="44450">
            <a:normAutofit/>
          </a:bodyPr>
          <a:lstStyle/>
          <a:p>
            <a:pPr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From </a:t>
            </a:r>
            <a:r>
              <a:rPr lang="en-US" sz="2400" dirty="0" smtClean="0">
                <a:solidFill>
                  <a:schemeClr val="tx1"/>
                </a:solidFill>
              </a:rPr>
              <a:t>the </a:t>
            </a:r>
            <a:r>
              <a:rPr lang="en-US" sz="2400" dirty="0" smtClean="0">
                <a:solidFill>
                  <a:schemeClr val="tx1"/>
                </a:solidFill>
              </a:rPr>
              <a:t>Website given:-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Test </a:t>
            </a:r>
            <a:r>
              <a:rPr lang="en-US" sz="2400" b="0" dirty="0" smtClean="0">
                <a:solidFill>
                  <a:schemeClr val="tx1"/>
                </a:solidFill>
              </a:rPr>
              <a:t>Cases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Program for Login using Page Factory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Program for Registration </a:t>
            </a:r>
            <a:r>
              <a:rPr lang="en-US" sz="2400" b="0" dirty="0">
                <a:solidFill>
                  <a:schemeClr val="tx1"/>
                </a:solidFill>
              </a:rPr>
              <a:t>using Page Factory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7171" name="Title 1"/>
          <p:cNvSpPr>
            <a:spLocks/>
          </p:cNvSpPr>
          <p:nvPr/>
        </p:nvSpPr>
        <p:spPr bwMode="auto">
          <a:xfrm>
            <a:off x="390525" y="0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VERVIEW OF THE PROJECT 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 CASE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40207910"/>
              </p:ext>
            </p:extLst>
          </p:nvPr>
        </p:nvGraphicFramePr>
        <p:xfrm>
          <a:off x="395536" y="1469008"/>
          <a:ext cx="736848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93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229600" cy="792162"/>
          </a:xfrm>
        </p:spPr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ATA DRIVEN FRAMEWORK 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in which the test data set is created in the excel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eet and fed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software under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 used to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 web-based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s -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nium </a:t>
            </a:r>
            <a:r>
              <a:rPr lang="en-US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driver</a:t>
            </a:r>
            <a:endParaRPr lang="en-US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not hardcoded with script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 provided from external source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the design of possible inputs provided by the user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436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PAGE FACTORY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sion to the Page Object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(POM). 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itialize the elements of the Page Object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</a:t>
            </a:r>
            <a:r>
              <a:rPr lang="en-US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Element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 or '</a:t>
            </a:r>
            <a:r>
              <a:rPr lang="en-US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Elements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.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ntiate the Page Objects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elf 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non-brittle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 code and reduce or eliminate duplicate test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otations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d </a:t>
            </a: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pply descriptive names of target objects to improve code readability.</a:t>
            </a:r>
            <a:endParaRPr lang="en-US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85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Category xmlns="8c1e5db8-6ee0-40ad-b825-125fd87f72f8">Module Artifact</Category>
    <Material_x0020_Type xmlns="8c1e5db8-6ee0-40ad-b825-125fd87f72f8">Class book</Material_x0020_Type>
    <Level xmlns="8c1e5db8-6ee0-40ad-b825-125fd87f72f8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C5F8948189DB4491339C53D62C7AAD" ma:contentTypeVersion="3" ma:contentTypeDescription="Create a new document." ma:contentTypeScope="" ma:versionID="9e84191e124978d8f4352ec5bc9b8dba">
  <xsd:schema xmlns:xsd="http://www.w3.org/2001/XMLSchema" xmlns:xs="http://www.w3.org/2001/XMLSchema" xmlns:p="http://schemas.microsoft.com/office/2006/metadata/properties" xmlns:ns2="952a6df7-b138-4f89-9bc4-e7a874ea3254" xmlns:ns3="8c1e5db8-6ee0-40ad-b825-125fd87f72f8" targetNamespace="http://schemas.microsoft.com/office/2006/metadata/properties" ma:root="true" ma:fieldsID="de95c2eb70fa456a1e8632ad6bd3c73a" ns2:_="" ns3:_="">
    <xsd:import namespace="952a6df7-b138-4f89-9bc4-e7a874ea3254"/>
    <xsd:import namespace="8c1e5db8-6ee0-40ad-b825-125fd87f72f8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"/>
                <xsd:element ref="ns3:Category"/>
                <xsd:element ref="ns3: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e5db8-6ee0-40ad-b825-125fd87f72f8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default="L1" ma:format="Dropdown" ma:internalName="Level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nillable="true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3433B7-998A-4D4C-91CD-BC966B06FCAD}">
  <ds:schemaRefs>
    <ds:schemaRef ds:uri="http://purl.org/dc/elements/1.1/"/>
    <ds:schemaRef ds:uri="http://purl.org/dc/dcmitype/"/>
    <ds:schemaRef ds:uri="http://purl.org/dc/terms/"/>
    <ds:schemaRef ds:uri="952a6df7-b138-4f89-9bc4-e7a874ea3254"/>
    <ds:schemaRef ds:uri="http://schemas.microsoft.com/office/2006/documentManagement/types"/>
    <ds:schemaRef ds:uri="http://www.w3.org/XML/1998/namespace"/>
    <ds:schemaRef ds:uri="8c1e5db8-6ee0-40ad-b825-125fd87f72f8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05F3ED00-A83F-406F-BE54-7650EA297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2a6df7-b138-4f89-9bc4-e7a874ea3254"/>
    <ds:schemaRef ds:uri="8c1e5db8-6ee0-40ad-b825-125fd87f7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10114</TotalTime>
  <Words>241</Words>
  <Application>Microsoft Office PowerPoint</Application>
  <PresentationFormat>On-screen Show (4:3)</PresentationFormat>
  <Paragraphs>103</Paragraphs>
  <Slides>1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ＭＳ Ｐゴシック</vt:lpstr>
      <vt:lpstr>Times New Roman</vt:lpstr>
      <vt:lpstr>Candara</vt:lpstr>
      <vt:lpstr>Arial</vt:lpstr>
      <vt:lpstr>Wingdings</vt:lpstr>
      <vt:lpstr>Calibri</vt:lpstr>
      <vt:lpstr>Arial Black</vt:lpstr>
      <vt:lpstr>Office Theme</vt:lpstr>
      <vt:lpstr>PowerPoint Presentation</vt:lpstr>
      <vt:lpstr>TEAM MEMBERS</vt:lpstr>
      <vt:lpstr>PowerPoint Presentation</vt:lpstr>
      <vt:lpstr>INTRODUCTION</vt:lpstr>
      <vt:lpstr>INTRODUCTION Cont..</vt:lpstr>
      <vt:lpstr>PowerPoint Presentation</vt:lpstr>
      <vt:lpstr>TEST CASES</vt:lpstr>
      <vt:lpstr>DATA DRIVEN FRAMEWORK </vt:lpstr>
      <vt:lpstr>PAGE FACTORY</vt:lpstr>
      <vt:lpstr>LOGIN PAGE</vt:lpstr>
      <vt:lpstr>ECLIPSE CODE FOR LOGIN</vt:lpstr>
      <vt:lpstr>HTML REPORT FOR LOGIN</vt:lpstr>
      <vt:lpstr>REGISTRATION PAGE</vt:lpstr>
      <vt:lpstr>ECLIPSE CODE FOR REGISTRATION</vt:lpstr>
      <vt:lpstr>HTML REPORT FOR REGISTRATION</vt:lpstr>
      <vt:lpstr>TEST SUMMARY</vt:lpstr>
      <vt:lpstr>TEST SUMMARY Cont..</vt:lpstr>
      <vt:lpstr>Thank You !   Q &amp; 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VALLIAPPAN, DHANALAKSHMI</cp:lastModifiedBy>
  <cp:revision>318</cp:revision>
  <dcterms:created xsi:type="dcterms:W3CDTF">2014-04-28T11:21:39Z</dcterms:created>
  <dcterms:modified xsi:type="dcterms:W3CDTF">2018-03-08T11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C5F8948189DB4491339C53D62C7AAD</vt:lpwstr>
  </property>
</Properties>
</file>